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EAB9BD83-2AB0-4B74-AB8D-3C141C871FF0}"/>
    <pc:docChg chg="delSld">
      <pc:chgData name="Meyer Raphael (PAR-ES)" userId="79615dfe-ed48-4e74-a40f-4f7b034c1c27" providerId="ADAL" clId="{EAB9BD83-2AB0-4B74-AB8D-3C141C871FF0}" dt="2022-02-21T12:46:15.248" v="0" actId="47"/>
      <pc:docMkLst>
        <pc:docMk/>
      </pc:docMkLst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102945685" sldId="404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3A27B623-637C-46A0-A79D-6EAC2BA7DD62}"/>
    <pc:docChg chg="modSld">
      <pc:chgData name="Weigel Stefan (PAR-EPS)" userId="fd3b2067-2981-4ad8-bf3a-d2e1004e4fa8" providerId="ADAL" clId="{3A27B623-637C-46A0-A79D-6EAC2BA7DD62}" dt="2024-03-10T07:35:13.366" v="14" actId="20577"/>
      <pc:docMkLst>
        <pc:docMk/>
      </pc:docMkLst>
      <pc:sldChg chg="modSp mod">
        <pc:chgData name="Weigel Stefan (PAR-EPS)" userId="fd3b2067-2981-4ad8-bf3a-d2e1004e4fa8" providerId="ADAL" clId="{3A27B623-637C-46A0-A79D-6EAC2BA7DD62}" dt="2024-03-10T07:35:13.366" v="14" actId="20577"/>
        <pc:sldMkLst>
          <pc:docMk/>
          <pc:sldMk cId="3613367002" sldId="402"/>
        </pc:sldMkLst>
        <pc:spChg chg="mod">
          <ac:chgData name="Weigel Stefan (PAR-EPS)" userId="fd3b2067-2981-4ad8-bf3a-d2e1004e4fa8" providerId="ADAL" clId="{3A27B623-637C-46A0-A79D-6EAC2BA7DD62}" dt="2024-03-10T07:35:13.366" v="14" actId="20577"/>
          <ac:spMkLst>
            <pc:docMk/>
            <pc:sldMk cId="3613367002" sldId="402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4C67D90F-5267-4B83-A05D-7450935D777C}"/>
    <pc:docChg chg="modSld">
      <pc:chgData name="Meyer Raphael (PAR-ES)" userId="79615dfe-ed48-4e74-a40f-4f7b034c1c27" providerId="ADAL" clId="{4C67D90F-5267-4B83-A05D-7450935D777C}" dt="2023-02-22T13:37:47.848" v="3" actId="27918"/>
      <pc:docMkLst>
        <pc:docMk/>
      </pc:docMkLst>
      <pc:sldChg chg="mod">
        <pc:chgData name="Meyer Raphael (PAR-ES)" userId="79615dfe-ed48-4e74-a40f-4f7b034c1c27" providerId="ADAL" clId="{4C67D90F-5267-4B83-A05D-7450935D777C}" dt="2023-02-22T13:37:47.848" v="3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6A99FCC-6F7B-4FC5-B31D-D6D058FD1A5C}"/>
    <pc:docChg chg="modSld">
      <pc:chgData name="Weigel Stefan (PAR-EPS)" userId="fd3b2067-2981-4ad8-bf3a-d2e1004e4fa8" providerId="ADAL" clId="{86A99FCC-6F7B-4FC5-B31D-D6D058FD1A5C}" dt="2024-02-28T08:35:09.378" v="39" actId="27918"/>
      <pc:docMkLst>
        <pc:docMk/>
      </pc:docMkLst>
      <pc:sldChg chg="mod">
        <pc:chgData name="Weigel Stefan (PAR-EPS)" userId="fd3b2067-2981-4ad8-bf3a-d2e1004e4fa8" providerId="ADAL" clId="{86A99FCC-6F7B-4FC5-B31D-D6D058FD1A5C}" dt="2024-02-28T08:35:09.378" v="39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Risultato consolidato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238.247733949999</c:v>
                </c:pt>
                <c:pt idx="1">
                  <c:v>372.88296333000102</c:v>
                </c:pt>
                <c:pt idx="2">
                  <c:v>245.66372648999999</c:v>
                </c:pt>
                <c:pt idx="3">
                  <c:v>380.637372325878</c:v>
                </c:pt>
                <c:pt idx="4">
                  <c:v>398.95878820453299</c:v>
                </c:pt>
                <c:pt idx="5">
                  <c:v>568.40585356027998</c:v>
                </c:pt>
                <c:pt idx="6">
                  <c:v>463.48435327405701</c:v>
                </c:pt>
                <c:pt idx="7">
                  <c:v>-617.01844565235501</c:v>
                </c:pt>
                <c:pt idx="8">
                  <c:v>-325.330509616754</c:v>
                </c:pt>
                <c:pt idx="9">
                  <c:v>-245.36702553034399</c:v>
                </c:pt>
                <c:pt idx="10">
                  <c:v>266.53405112842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solidFill>
            <a:schemeClr val="bg1"/>
          </a:solidFill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5902</cdr:x>
      <cdr:y>0.0751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543986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/>
            <a:t>Mio. </a:t>
          </a:r>
          <a:r>
            <a:rPr lang="de-CH" sz="900" dirty="0">
              <a:solidFill>
                <a:srgbClr val="444444"/>
              </a:solidFill>
            </a:rPr>
            <a:t>CHF</a:t>
          </a:r>
          <a:endParaRPr lang="de-CH" sz="9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10.03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Risultato consolidato FFS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55053691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9DA3134-61A3-4893-AF45-E846B089F2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isultato consolidato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ultato consolidato FFS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3-10T07:3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